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 varScale="1">
        <p:scale>
          <a:sx n="55" d="100"/>
          <a:sy n="55" d="100"/>
        </p:scale>
        <p:origin x="1336" y="84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21-02-24T19:32:34.654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3/2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ushiraj.p.desai@accentur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Ram Prakash Sing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6129" y="1089329"/>
            <a:ext cx="2859873" cy="2444053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Lead Developer</a:t>
            </a:r>
          </a:p>
          <a:p>
            <a:r>
              <a:rPr lang="de-DE" sz="1200" dirty="0">
                <a:hlinkClick r:id="rId3"/>
              </a:rPr>
              <a:t>ram.prakash.singh@accenture.com</a:t>
            </a:r>
            <a:endParaRPr lang="de-DE" sz="1200" dirty="0"/>
          </a:p>
          <a:p>
            <a:r>
              <a:rPr lang="de-DE" sz="1200" dirty="0"/>
              <a:t>+91 9953875097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Retail</a:t>
            </a:r>
          </a:p>
          <a:p>
            <a:r>
              <a:rPr lang="de-DE" dirty="0"/>
              <a:t>Banking &amp; Mortgage Insurance</a:t>
            </a:r>
          </a:p>
          <a:p>
            <a:r>
              <a:rPr lang="de-DE" dirty="0"/>
              <a:t>Publishing</a:t>
            </a:r>
          </a:p>
          <a:p>
            <a:r>
              <a:rPr lang="de-DE" dirty="0"/>
              <a:t>Manufacturing(AWS IOT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20"/>
            <a:ext cx="5324965" cy="1177692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pringBoo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RES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Microservic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OAP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Hibernat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AWS(Lambda, IOT, Kinesis, S3, Dynamo &amp; Aurora DB, API gatway, CI/CD etc)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elenium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uni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027493"/>
          </a:xfrm>
        </p:spPr>
        <p:txBody>
          <a:bodyPr/>
          <a:lstStyle/>
          <a:p>
            <a:r>
              <a:rPr lang="en-US" dirty="0"/>
              <a:t>10 years experience in design and implementation of web application, object oriented, frameworks &amp; cloud architecture in various business domains.. Experienced in managing, leading development &amp; integration projects, test and business driven development, product development.</a:t>
            </a:r>
          </a:p>
          <a:p>
            <a:r>
              <a:rPr lang="en-US" dirty="0"/>
              <a:t>Experienced in microservices, monolithic, SAML applications, Java, AWS, Docker, open-source technologies such as spring/spring boot, application servers, version control, build and deployment tools, SQL/NO-SQL databases, UI(JavaScript,JQuery) tech stack. Trained in reactive programming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857426"/>
          </a:xfrm>
        </p:spPr>
        <p:txBody>
          <a:bodyPr/>
          <a:lstStyle/>
          <a:p>
            <a:pPr algn="just"/>
            <a:r>
              <a:rPr lang="de-DE" b="1" dirty="0"/>
              <a:t>Business On Line(Corporate banking) – Bank Of Ireland Client. Location: Ireland.</a:t>
            </a:r>
          </a:p>
          <a:p>
            <a:pPr algn="just"/>
            <a:r>
              <a:rPr lang="de-DE" dirty="0"/>
              <a:t>Delivery lead for Corporate Banking web application for scrum team. Agile software develoment methodology. Tech stack such as Java, Spring, Oracle, Coolgen, Mainframe.</a:t>
            </a:r>
          </a:p>
          <a:p>
            <a:pPr defTabSz="912813">
              <a:defRPr/>
            </a:pPr>
            <a:r>
              <a:rPr lang="en-US" b="1" dirty="0"/>
              <a:t>Machine to Machine – </a:t>
            </a:r>
            <a:r>
              <a:rPr lang="en-US" b="1" dirty="0" err="1"/>
              <a:t>Yanmar</a:t>
            </a:r>
            <a:r>
              <a:rPr lang="en-US" b="1" dirty="0"/>
              <a:t> Agriculture Equipment Client . Location: Japan &amp; India. 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Delivery lead for Cloud  based application for scrum team. </a:t>
            </a:r>
            <a:r>
              <a:rPr lang="de-DE" dirty="0"/>
              <a:t>Agile software development methodology. Tech stack Java, AWS(IOT, Kinesis, Lambda, EC2, S3, DynamoDB), Docker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Learning Objective Management Tool – Pearson Client. Location UK &amp; North America.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Lead and Sr. Engineer for microservices application analysis, design and development</a:t>
            </a:r>
            <a:r>
              <a:rPr lang="de-DE" dirty="0"/>
              <a:t>. Tech stack such as Java, Microservices, SpringBoot, RDF, MarkLogic DB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Socrates  - </a:t>
            </a:r>
            <a:r>
              <a:rPr lang="en-US" b="1" dirty="0" err="1">
                <a:solidFill>
                  <a:srgbClr val="000000"/>
                </a:solidFill>
              </a:rPr>
              <a:t>Specsaver</a:t>
            </a:r>
            <a:r>
              <a:rPr lang="en-US" b="1" dirty="0">
                <a:solidFill>
                  <a:srgbClr val="000000"/>
                </a:solidFill>
              </a:rPr>
              <a:t> Optical Group Ltd Client. Location UK, Australia, Nederland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Part of Product development scrum team, Tech stack such as Java, Spring, Hibernate, SOAP WS etc. </a:t>
            </a:r>
            <a:r>
              <a:rPr lang="de-DE" dirty="0"/>
              <a:t>Agile software develoment methodology. </a:t>
            </a:r>
            <a:endParaRPr lang="en-US" dirty="0">
              <a:solidFill>
                <a:srgbClr val="000000"/>
              </a:solidFill>
            </a:endParaRPr>
          </a:p>
          <a:p>
            <a:pPr defTabSz="912813">
              <a:defRPr/>
            </a:pPr>
            <a:endParaRPr lang="de-DE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405755"/>
            <a:ext cx="4878355" cy="269304"/>
          </a:xfrm>
        </p:spPr>
        <p:txBody>
          <a:bodyPr/>
          <a:lstStyle/>
          <a:p>
            <a:r>
              <a:rPr lang="de-DE" dirty="0"/>
              <a:t>Lead Developer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3F49556-09E4-4C3E-B89B-955D8F95E50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t="5421" b="5421"/>
          <a:stretch>
            <a:fillRect/>
          </a:stretch>
        </p:blipFill>
        <p:spPr>
          <a:xfrm>
            <a:off x="434975" y="774700"/>
            <a:ext cx="2374900" cy="2759075"/>
          </a:xfrm>
        </p:spPr>
      </p:pic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customXml/itemProps2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44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1-03-22T07:4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